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sldIdLst>
    <p:sldId id="257" r:id="rId5"/>
    <p:sldId id="8938" r:id="rId6"/>
    <p:sldId id="9186" r:id="rId7"/>
    <p:sldId id="9184" r:id="rId8"/>
    <p:sldId id="9168" r:id="rId9"/>
    <p:sldId id="9198" r:id="rId10"/>
    <p:sldId id="9178" r:id="rId11"/>
    <p:sldId id="8982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86BD553-76FD-8142-12D7-7EEF3666C447}" name="Nick, Michael" initials="NM" userId="S::mnick@Collegeboard.org::55559208-4f7a-4705-837a-a526970cf8d1" providerId="AD"/>
  <p188:author id="{23DE669A-29D6-FFE4-689D-B474FC245098}" name="Wilson, James (He/Him/His)" initials="JW" userId="S::jawilson@collegeboard.org::23f19e9b-c515-4f22-9774-83142d18f83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F1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B88C5B-28C6-490E-C7E5-D4D1D78E7D84}" v="1" dt="2024-02-08T15:50:56.0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4501" autoAdjust="0"/>
  </p:normalViewPr>
  <p:slideViewPr>
    <p:cSldViewPr snapToGrid="0">
      <p:cViewPr varScale="1">
        <p:scale>
          <a:sx n="85" d="100"/>
          <a:sy n="85" d="100"/>
        </p:scale>
        <p:origin x="155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lf Belda, Jenn (She/Her/Hers)" userId="938397ff-368c-409a-93c4-0d682b7456a2" providerId="ADAL" clId="{5D4B715C-5218-4DB0-8873-7F6E6C9E1CC8}"/>
    <pc:docChg chg="custSel delSld modSld">
      <pc:chgData name="Wolf Belda, Jenn (She/Her/Hers)" userId="938397ff-368c-409a-93c4-0d682b7456a2" providerId="ADAL" clId="{5D4B715C-5218-4DB0-8873-7F6E6C9E1CC8}" dt="2024-02-05T15:48:59.494" v="266" actId="20577"/>
      <pc:docMkLst>
        <pc:docMk/>
      </pc:docMkLst>
      <pc:sldChg chg="modSp mod">
        <pc:chgData name="Wolf Belda, Jenn (She/Her/Hers)" userId="938397ff-368c-409a-93c4-0d682b7456a2" providerId="ADAL" clId="{5D4B715C-5218-4DB0-8873-7F6E6C9E1CC8}" dt="2024-02-05T14:52:08.766" v="9" actId="14100"/>
        <pc:sldMkLst>
          <pc:docMk/>
          <pc:sldMk cId="1784689451" sldId="257"/>
        </pc:sldMkLst>
        <pc:spChg chg="mod">
          <ac:chgData name="Wolf Belda, Jenn (She/Her/Hers)" userId="938397ff-368c-409a-93c4-0d682b7456a2" providerId="ADAL" clId="{5D4B715C-5218-4DB0-8873-7F6E6C9E1CC8}" dt="2024-02-05T14:52:08.766" v="9" actId="14100"/>
          <ac:spMkLst>
            <pc:docMk/>
            <pc:sldMk cId="1784689451" sldId="257"/>
            <ac:spMk id="6" creationId="{7C7D006C-16F7-43F7-C101-E71E11E047B0}"/>
          </ac:spMkLst>
        </pc:spChg>
      </pc:sldChg>
      <pc:sldChg chg="modSp mod">
        <pc:chgData name="Wolf Belda, Jenn (She/Her/Hers)" userId="938397ff-368c-409a-93c4-0d682b7456a2" providerId="ADAL" clId="{5D4B715C-5218-4DB0-8873-7F6E6C9E1CC8}" dt="2024-02-05T14:53:54.184" v="114" actId="1076"/>
        <pc:sldMkLst>
          <pc:docMk/>
          <pc:sldMk cId="2287539882" sldId="8938"/>
        </pc:sldMkLst>
        <pc:spChg chg="mod">
          <ac:chgData name="Wolf Belda, Jenn (She/Her/Hers)" userId="938397ff-368c-409a-93c4-0d682b7456a2" providerId="ADAL" clId="{5D4B715C-5218-4DB0-8873-7F6E6C9E1CC8}" dt="2024-02-05T14:52:43.636" v="42" actId="20577"/>
          <ac:spMkLst>
            <pc:docMk/>
            <pc:sldMk cId="2287539882" sldId="8938"/>
            <ac:spMk id="3" creationId="{7A4B3047-D59C-5F79-039D-308CBDF97D08}"/>
          </ac:spMkLst>
        </pc:spChg>
        <pc:spChg chg="mod">
          <ac:chgData name="Wolf Belda, Jenn (She/Her/Hers)" userId="938397ff-368c-409a-93c4-0d682b7456a2" providerId="ADAL" clId="{5D4B715C-5218-4DB0-8873-7F6E6C9E1CC8}" dt="2024-02-05T14:53:54.184" v="114" actId="1076"/>
          <ac:spMkLst>
            <pc:docMk/>
            <pc:sldMk cId="2287539882" sldId="8938"/>
            <ac:spMk id="16" creationId="{C4B83D66-272A-B889-FA53-5081FA587165}"/>
          </ac:spMkLst>
        </pc:spChg>
        <pc:spChg chg="mod">
          <ac:chgData name="Wolf Belda, Jenn (She/Her/Hers)" userId="938397ff-368c-409a-93c4-0d682b7456a2" providerId="ADAL" clId="{5D4B715C-5218-4DB0-8873-7F6E6C9E1CC8}" dt="2024-02-05T14:53:02.014" v="74" actId="20577"/>
          <ac:spMkLst>
            <pc:docMk/>
            <pc:sldMk cId="2287539882" sldId="8938"/>
            <ac:spMk id="17" creationId="{C783A0D5-4BAF-B958-D3B5-20D7E710AC9C}"/>
          </ac:spMkLst>
        </pc:spChg>
        <pc:spChg chg="mod">
          <ac:chgData name="Wolf Belda, Jenn (She/Her/Hers)" userId="938397ff-368c-409a-93c4-0d682b7456a2" providerId="ADAL" clId="{5D4B715C-5218-4DB0-8873-7F6E6C9E1CC8}" dt="2024-02-05T14:53:08.013" v="75" actId="20577"/>
          <ac:spMkLst>
            <pc:docMk/>
            <pc:sldMk cId="2287539882" sldId="8938"/>
            <ac:spMk id="18" creationId="{D690071C-D0B8-8AAC-37DA-FC2518FAD15C}"/>
          </ac:spMkLst>
        </pc:spChg>
      </pc:sldChg>
      <pc:sldChg chg="del">
        <pc:chgData name="Wolf Belda, Jenn (She/Her/Hers)" userId="938397ff-368c-409a-93c4-0d682b7456a2" providerId="ADAL" clId="{5D4B715C-5218-4DB0-8873-7F6E6C9E1CC8}" dt="2024-02-05T15:48:12.023" v="219" actId="47"/>
        <pc:sldMkLst>
          <pc:docMk/>
          <pc:sldMk cId="4191054473" sldId="8987"/>
        </pc:sldMkLst>
      </pc:sldChg>
      <pc:sldChg chg="del">
        <pc:chgData name="Wolf Belda, Jenn (She/Her/Hers)" userId="938397ff-368c-409a-93c4-0d682b7456a2" providerId="ADAL" clId="{5D4B715C-5218-4DB0-8873-7F6E6C9E1CC8}" dt="2024-02-05T15:48:13.859" v="220" actId="47"/>
        <pc:sldMkLst>
          <pc:docMk/>
          <pc:sldMk cId="3935784916" sldId="8988"/>
        </pc:sldMkLst>
      </pc:sldChg>
      <pc:sldChg chg="addSp delSp modSp mod delCm">
        <pc:chgData name="Wolf Belda, Jenn (She/Her/Hers)" userId="938397ff-368c-409a-93c4-0d682b7456a2" providerId="ADAL" clId="{5D4B715C-5218-4DB0-8873-7F6E6C9E1CC8}" dt="2024-02-05T15:47:03.549" v="188" actId="1076"/>
        <pc:sldMkLst>
          <pc:docMk/>
          <pc:sldMk cId="2818441585" sldId="9168"/>
        </pc:sldMkLst>
        <pc:spChg chg="mod">
          <ac:chgData name="Wolf Belda, Jenn (She/Her/Hers)" userId="938397ff-368c-409a-93c4-0d682b7456a2" providerId="ADAL" clId="{5D4B715C-5218-4DB0-8873-7F6E6C9E1CC8}" dt="2024-02-05T14:55:51.352" v="179" actId="20577"/>
          <ac:spMkLst>
            <pc:docMk/>
            <pc:sldMk cId="2818441585" sldId="9168"/>
            <ac:spMk id="5" creationId="{D21E1137-8EC1-C9F4-11D4-D45368C6973F}"/>
          </ac:spMkLst>
        </pc:spChg>
        <pc:picChg chg="add mod">
          <ac:chgData name="Wolf Belda, Jenn (She/Her/Hers)" userId="938397ff-368c-409a-93c4-0d682b7456a2" providerId="ADAL" clId="{5D4B715C-5218-4DB0-8873-7F6E6C9E1CC8}" dt="2024-02-05T15:46:57.279" v="186" actId="1076"/>
          <ac:picMkLst>
            <pc:docMk/>
            <pc:sldMk cId="2818441585" sldId="9168"/>
            <ac:picMk id="3" creationId="{0B5B2D1F-B083-50D1-56C0-0322B2332578}"/>
          </ac:picMkLst>
        </pc:picChg>
        <pc:picChg chg="add mod">
          <ac:chgData name="Wolf Belda, Jenn (She/Her/Hers)" userId="938397ff-368c-409a-93c4-0d682b7456a2" providerId="ADAL" clId="{5D4B715C-5218-4DB0-8873-7F6E6C9E1CC8}" dt="2024-02-05T15:46:40.574" v="184" actId="1076"/>
          <ac:picMkLst>
            <pc:docMk/>
            <pc:sldMk cId="2818441585" sldId="9168"/>
            <ac:picMk id="7" creationId="{E8A9DDE8-9FD2-6467-A1EE-85298A5EE5CA}"/>
          </ac:picMkLst>
        </pc:picChg>
        <pc:picChg chg="add mod">
          <ac:chgData name="Wolf Belda, Jenn (She/Her/Hers)" userId="938397ff-368c-409a-93c4-0d682b7456a2" providerId="ADAL" clId="{5D4B715C-5218-4DB0-8873-7F6E6C9E1CC8}" dt="2024-02-05T15:46:54.166" v="185"/>
          <ac:picMkLst>
            <pc:docMk/>
            <pc:sldMk cId="2818441585" sldId="9168"/>
            <ac:picMk id="8" creationId="{29DE931E-0948-6F77-ED79-F5CD3786DA2A}"/>
          </ac:picMkLst>
        </pc:picChg>
        <pc:picChg chg="add mod">
          <ac:chgData name="Wolf Belda, Jenn (She/Her/Hers)" userId="938397ff-368c-409a-93c4-0d682b7456a2" providerId="ADAL" clId="{5D4B715C-5218-4DB0-8873-7F6E6C9E1CC8}" dt="2024-02-05T15:47:03.549" v="188" actId="1076"/>
          <ac:picMkLst>
            <pc:docMk/>
            <pc:sldMk cId="2818441585" sldId="9168"/>
            <ac:picMk id="9" creationId="{683CCB13-7B04-41F9-F042-9B7012014386}"/>
          </ac:picMkLst>
        </pc:picChg>
        <pc:picChg chg="del">
          <ac:chgData name="Wolf Belda, Jenn (She/Her/Hers)" userId="938397ff-368c-409a-93c4-0d682b7456a2" providerId="ADAL" clId="{5D4B715C-5218-4DB0-8873-7F6E6C9E1CC8}" dt="2024-02-05T14:55:32.459" v="154" actId="478"/>
          <ac:picMkLst>
            <pc:docMk/>
            <pc:sldMk cId="2818441585" sldId="9168"/>
            <ac:picMk id="20" creationId="{991DD837-1366-D8B7-6301-47CECC359F88}"/>
          </ac:picMkLst>
        </pc:picChg>
        <pc:picChg chg="del">
          <ac:chgData name="Wolf Belda, Jenn (She/Her/Hers)" userId="938397ff-368c-409a-93c4-0d682b7456a2" providerId="ADAL" clId="{5D4B715C-5218-4DB0-8873-7F6E6C9E1CC8}" dt="2024-02-05T14:55:34.939" v="155" actId="478"/>
          <ac:picMkLst>
            <pc:docMk/>
            <pc:sldMk cId="2818441585" sldId="9168"/>
            <ac:picMk id="21" creationId="{D7CC9DD5-63EF-6F3E-054F-83EC8783AEDB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Wolf Belda, Jenn (She/Her/Hers)" userId="938397ff-368c-409a-93c4-0d682b7456a2" providerId="ADAL" clId="{5D4B715C-5218-4DB0-8873-7F6E6C9E1CC8}" dt="2024-02-05T14:55:20.873" v="153"/>
              <pc2:cmMkLst xmlns:pc2="http://schemas.microsoft.com/office/powerpoint/2019/9/main/command">
                <pc:docMk/>
                <pc:sldMk cId="2818441585" sldId="9168"/>
                <pc2:cmMk id="{E9CA8CB9-559C-454D-8329-91A8F826B5A1}"/>
              </pc2:cmMkLst>
            </pc226:cmChg>
          </p:ext>
        </pc:extLst>
      </pc:sldChg>
      <pc:sldChg chg="modSp mod delCm modNotesTx">
        <pc:chgData name="Wolf Belda, Jenn (She/Her/Hers)" userId="938397ff-368c-409a-93c4-0d682b7456a2" providerId="ADAL" clId="{5D4B715C-5218-4DB0-8873-7F6E6C9E1CC8}" dt="2024-02-05T15:48:59.494" v="266" actId="20577"/>
        <pc:sldMkLst>
          <pc:docMk/>
          <pc:sldMk cId="1682895447" sldId="9178"/>
        </pc:sldMkLst>
        <pc:spChg chg="mod">
          <ac:chgData name="Wolf Belda, Jenn (She/Her/Hers)" userId="938397ff-368c-409a-93c4-0d682b7456a2" providerId="ADAL" clId="{5D4B715C-5218-4DB0-8873-7F6E6C9E1CC8}" dt="2024-02-05T15:48:59.494" v="266" actId="20577"/>
          <ac:spMkLst>
            <pc:docMk/>
            <pc:sldMk cId="1682895447" sldId="9178"/>
            <ac:spMk id="4" creationId="{16B2DB0A-76AC-E066-0F78-AA1D821C4B7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Wolf Belda, Jenn (She/Her/Hers)" userId="938397ff-368c-409a-93c4-0d682b7456a2" providerId="ADAL" clId="{5D4B715C-5218-4DB0-8873-7F6E6C9E1CC8}" dt="2024-02-05T15:47:46.953" v="217"/>
              <pc2:cmMkLst xmlns:pc2="http://schemas.microsoft.com/office/powerpoint/2019/9/main/command">
                <pc:docMk/>
                <pc:sldMk cId="1682895447" sldId="9178"/>
                <pc2:cmMk id="{CBD0CFBE-D95A-439A-B5AD-AD31FD780F92}"/>
              </pc2:cmMkLst>
            </pc226:cmChg>
          </p:ext>
        </pc:extLst>
      </pc:sldChg>
      <pc:sldChg chg="modSp mod">
        <pc:chgData name="Wolf Belda, Jenn (She/Her/Hers)" userId="938397ff-368c-409a-93c4-0d682b7456a2" providerId="ADAL" clId="{5D4B715C-5218-4DB0-8873-7F6E6C9E1CC8}" dt="2024-02-05T14:55:07.303" v="152" actId="20577"/>
        <pc:sldMkLst>
          <pc:docMk/>
          <pc:sldMk cId="787174432" sldId="9184"/>
        </pc:sldMkLst>
        <pc:spChg chg="mod">
          <ac:chgData name="Wolf Belda, Jenn (She/Her/Hers)" userId="938397ff-368c-409a-93c4-0d682b7456a2" providerId="ADAL" clId="{5D4B715C-5218-4DB0-8873-7F6E6C9E1CC8}" dt="2024-02-05T14:55:07.303" v="152" actId="20577"/>
          <ac:spMkLst>
            <pc:docMk/>
            <pc:sldMk cId="787174432" sldId="9184"/>
            <ac:spMk id="3" creationId="{7CD99505-3943-69E3-86EB-73BD4D6E3327}"/>
          </ac:spMkLst>
        </pc:spChg>
        <pc:spChg chg="mod">
          <ac:chgData name="Wolf Belda, Jenn (She/Her/Hers)" userId="938397ff-368c-409a-93c4-0d682b7456a2" providerId="ADAL" clId="{5D4B715C-5218-4DB0-8873-7F6E6C9E1CC8}" dt="2024-02-05T14:54:55.888" v="150" actId="20577"/>
          <ac:spMkLst>
            <pc:docMk/>
            <pc:sldMk cId="787174432" sldId="9184"/>
            <ac:spMk id="7" creationId="{818D70E6-6715-2C5D-5AB4-BD0C6441FCA5}"/>
          </ac:spMkLst>
        </pc:spChg>
      </pc:sldChg>
      <pc:sldChg chg="modSp mod">
        <pc:chgData name="Wolf Belda, Jenn (She/Her/Hers)" userId="938397ff-368c-409a-93c4-0d682b7456a2" providerId="ADAL" clId="{5D4B715C-5218-4DB0-8873-7F6E6C9E1CC8}" dt="2024-02-05T14:54:45.457" v="146" actId="14100"/>
        <pc:sldMkLst>
          <pc:docMk/>
          <pc:sldMk cId="3915140349" sldId="9186"/>
        </pc:sldMkLst>
        <pc:spChg chg="mod">
          <ac:chgData name="Wolf Belda, Jenn (She/Her/Hers)" userId="938397ff-368c-409a-93c4-0d682b7456a2" providerId="ADAL" clId="{5D4B715C-5218-4DB0-8873-7F6E6C9E1CC8}" dt="2024-02-05T14:54:45.457" v="146" actId="14100"/>
          <ac:spMkLst>
            <pc:docMk/>
            <pc:sldMk cId="3915140349" sldId="9186"/>
            <ac:spMk id="3" creationId="{7A4B3047-D59C-5F79-039D-308CBDF97D08}"/>
          </ac:spMkLst>
        </pc:spChg>
      </pc:sldChg>
      <pc:sldChg chg="modSp mod">
        <pc:chgData name="Wolf Belda, Jenn (She/Her/Hers)" userId="938397ff-368c-409a-93c4-0d682b7456a2" providerId="ADAL" clId="{5D4B715C-5218-4DB0-8873-7F6E6C9E1CC8}" dt="2024-02-05T15:47:41.795" v="216" actId="20577"/>
        <pc:sldMkLst>
          <pc:docMk/>
          <pc:sldMk cId="3203127803" sldId="9198"/>
        </pc:sldMkLst>
        <pc:spChg chg="mod">
          <ac:chgData name="Wolf Belda, Jenn (She/Her/Hers)" userId="938397ff-368c-409a-93c4-0d682b7456a2" providerId="ADAL" clId="{5D4B715C-5218-4DB0-8873-7F6E6C9E1CC8}" dt="2024-02-05T15:47:41.795" v="216" actId="20577"/>
          <ac:spMkLst>
            <pc:docMk/>
            <pc:sldMk cId="3203127803" sldId="9198"/>
            <ac:spMk id="3" creationId="{7A4B3047-D59C-5F79-039D-308CBDF97D08}"/>
          </ac:spMkLst>
        </pc:spChg>
      </pc:sldChg>
      <pc:sldChg chg="del">
        <pc:chgData name="Wolf Belda, Jenn (She/Her/Hers)" userId="938397ff-368c-409a-93c4-0d682b7456a2" providerId="ADAL" clId="{5D4B715C-5218-4DB0-8873-7F6E6C9E1CC8}" dt="2024-02-05T15:47:26.683" v="189" actId="47"/>
        <pc:sldMkLst>
          <pc:docMk/>
          <pc:sldMk cId="3183150699" sldId="9200"/>
        </pc:sldMkLst>
      </pc:sldChg>
    </pc:docChg>
  </pc:docChgLst>
  <pc:docChgLst>
    <pc:chgData name="Bowler, Tricia" userId="S::tricia.bowler@ride.ri.gov::a62662b5-a84c-4ce1-9b3b-ef7b009bc8dd" providerId="AD" clId="Web-{7FB88C5B-28C6-490E-C7E5-D4D1D78E7D84}"/>
    <pc:docChg chg="modSld">
      <pc:chgData name="Bowler, Tricia" userId="S::tricia.bowler@ride.ri.gov::a62662b5-a84c-4ce1-9b3b-ef7b009bc8dd" providerId="AD" clId="Web-{7FB88C5B-28C6-490E-C7E5-D4D1D78E7D84}" dt="2024-02-08T15:50:56.010" v="0"/>
      <pc:docMkLst>
        <pc:docMk/>
      </pc:docMkLst>
      <pc:sldChg chg="delSp">
        <pc:chgData name="Bowler, Tricia" userId="S::tricia.bowler@ride.ri.gov::a62662b5-a84c-4ce1-9b3b-ef7b009bc8dd" providerId="AD" clId="Web-{7FB88C5B-28C6-490E-C7E5-D4D1D78E7D84}" dt="2024-02-08T15:50:56.010" v="0"/>
        <pc:sldMkLst>
          <pc:docMk/>
          <pc:sldMk cId="1784689451" sldId="257"/>
        </pc:sldMkLst>
        <pc:picChg chg="del">
          <ac:chgData name="Bowler, Tricia" userId="S::tricia.bowler@ride.ri.gov::a62662b5-a84c-4ce1-9b3b-ef7b009bc8dd" providerId="AD" clId="Web-{7FB88C5B-28C6-490E-C7E5-D4D1D78E7D84}" dt="2024-02-08T15:50:56.010" v="0"/>
          <ac:picMkLst>
            <pc:docMk/>
            <pc:sldMk cId="1784689451" sldId="257"/>
            <ac:picMk id="10" creationId="{4ED24CC3-E0AF-898B-F440-6F8479ED5CB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D7A32D-FFEB-4669-B005-F4659D15592C}" type="datetimeFigureOut">
              <a:rPr lang="en-US" smtClean="0"/>
              <a:t>2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E3FFDB-AE82-4DF1-BD06-9979CC90E8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946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461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FE606B-3E41-4AEC-AA03-419853A8B3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6389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FE606B-3E41-4AEC-AA03-419853A8B3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23652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FE606B-3E41-4AEC-AA03-419853A8B3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7101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57480" y="340639"/>
            <a:ext cx="11517138" cy="5818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329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6359" y="1536675"/>
            <a:ext cx="4828269" cy="589709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4367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6360" y="5064161"/>
            <a:ext cx="4828269" cy="534662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899" b="1">
                <a:solidFill>
                  <a:schemeClr val="accent2"/>
                </a:solidFill>
                <a:latin typeface="+mj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Freeform 17"/>
          <p:cNvSpPr/>
          <p:nvPr/>
        </p:nvSpPr>
        <p:spPr>
          <a:xfrm>
            <a:off x="6067374" y="347530"/>
            <a:ext cx="5807244" cy="5811235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357481" y="6304778"/>
            <a:ext cx="3932368" cy="274320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519">
                <a:solidFill>
                  <a:schemeClr val="tx1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067374" y="340639"/>
            <a:ext cx="5807245" cy="5824934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709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Brand Approved Picture for Cover</a:t>
            </a:r>
            <a:br>
              <a:rPr lang="en-US"/>
            </a:br>
            <a:r>
              <a:rPr lang="en-US"/>
              <a:t>(Square Pictures only)</a:t>
            </a:r>
          </a:p>
        </p:txBody>
      </p:sp>
    </p:spTree>
    <p:extLst>
      <p:ext uri="{BB962C8B-B14F-4D97-AF65-F5344CB8AC3E}">
        <p14:creationId xmlns:p14="http://schemas.microsoft.com/office/powerpoint/2010/main" val="134127332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52924" y="408560"/>
            <a:ext cx="11286153" cy="6100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99" b="1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749371" y="699913"/>
            <a:ext cx="5819868" cy="39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2924" y="432879"/>
            <a:ext cx="11286153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569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72305" y="175390"/>
            <a:ext cx="11847391" cy="6507219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3038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  <a:br>
              <a:rPr lang="en-US"/>
            </a:br>
            <a:r>
              <a:rPr lang="en-US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1208AFD6-1385-D348-8E8D-FF026764B5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688600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634537"/>
            <a:ext cx="12192000" cy="3588923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4367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489823" y="1925777"/>
            <a:ext cx="1475292" cy="1150358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9226823" y="2048551"/>
            <a:ext cx="1475292" cy="1150358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10512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9258" y="2952883"/>
            <a:ext cx="4556067" cy="589709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5696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824" y="5907150"/>
            <a:ext cx="1794353" cy="32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286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30950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459786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7215" y="1740546"/>
            <a:ext cx="11459786" cy="4408714"/>
          </a:xfrm>
        </p:spPr>
        <p:txBody>
          <a:bodyPr/>
          <a:lstStyle>
            <a:lvl1pPr>
              <a:buClr>
                <a:schemeClr val="accent3"/>
              </a:buClr>
              <a:buSzPct val="80000"/>
              <a:defRPr/>
            </a:lvl1pPr>
            <a:lvl2pPr>
              <a:buClr>
                <a:schemeClr val="accent3"/>
              </a:buClr>
              <a:buSzPct val="80000"/>
              <a:defRPr/>
            </a:lvl2pPr>
            <a:lvl3pPr>
              <a:buClr>
                <a:schemeClr val="accent3"/>
              </a:buClr>
              <a:buSzPct val="80000"/>
              <a:defRPr/>
            </a:lvl3pPr>
            <a:lvl4pPr>
              <a:buClr>
                <a:schemeClr val="accent3"/>
              </a:buClr>
              <a:buSzPct val="80000"/>
              <a:defRPr/>
            </a:lvl4pPr>
            <a:lvl5pPr>
              <a:buClr>
                <a:schemeClr val="accent3"/>
              </a:buClr>
              <a:buSzPct val="80000"/>
              <a:defRPr sz="170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6461" y="1078726"/>
            <a:ext cx="6511242" cy="534662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709" b="1">
                <a:solidFill>
                  <a:schemeClr val="accent3"/>
                </a:solidFill>
                <a:latin typeface="+mn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75099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Add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pHolder1">
            <a:extLst>
              <a:ext uri="{FF2B5EF4-FFF2-40B4-BE49-F238E27FC236}">
                <a16:creationId xmlns:a16="http://schemas.microsoft.com/office/drawing/2014/main" id="{6C9CDA15-E892-4C4A-8A55-02344576438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724400"/>
          </a:xfrm>
          <a:custGeom>
            <a:avLst/>
            <a:gdLst>
              <a:gd name="connsiteX0" fmla="*/ 0 w 12193588"/>
              <a:gd name="connsiteY0" fmla="*/ 0 h 4724400"/>
              <a:gd name="connsiteX1" fmla="*/ 12193588 w 12193588"/>
              <a:gd name="connsiteY1" fmla="*/ 0 h 4724400"/>
              <a:gd name="connsiteX2" fmla="*/ 12193588 w 12193588"/>
              <a:gd name="connsiteY2" fmla="*/ 4724400 h 4724400"/>
              <a:gd name="connsiteX3" fmla="*/ 0 w 12193588"/>
              <a:gd name="connsiteY3" fmla="*/ 472440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4724400">
                <a:moveTo>
                  <a:pt x="0" y="0"/>
                </a:moveTo>
                <a:lnTo>
                  <a:pt x="12193588" y="0"/>
                </a:lnTo>
                <a:lnTo>
                  <a:pt x="12193588" y="4724400"/>
                </a:lnTo>
                <a:lnTo>
                  <a:pt x="0" y="4724400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594745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Add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pHolder1">
            <a:extLst>
              <a:ext uri="{FF2B5EF4-FFF2-40B4-BE49-F238E27FC236}">
                <a16:creationId xmlns:a16="http://schemas.microsoft.com/office/drawing/2014/main" id="{1BE2C6E2-84F5-442B-A685-3BFD6530D8A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864767" cy="6858000"/>
          </a:xfrm>
          <a:custGeom>
            <a:avLst/>
            <a:gdLst>
              <a:gd name="connsiteX0" fmla="*/ 0 w 3865270"/>
              <a:gd name="connsiteY0" fmla="*/ 0 h 6858000"/>
              <a:gd name="connsiteX1" fmla="*/ 3865270 w 3865270"/>
              <a:gd name="connsiteY1" fmla="*/ 0 h 6858000"/>
              <a:gd name="connsiteX2" fmla="*/ 3865270 w 3865270"/>
              <a:gd name="connsiteY2" fmla="*/ 6858000 h 6858000"/>
              <a:gd name="connsiteX3" fmla="*/ 0 w 386527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65270" h="6858000">
                <a:moveTo>
                  <a:pt x="0" y="0"/>
                </a:moveTo>
                <a:lnTo>
                  <a:pt x="3865270" y="0"/>
                </a:lnTo>
                <a:lnTo>
                  <a:pt x="3865270" y="6858000"/>
                </a:lnTo>
                <a:lnTo>
                  <a:pt x="0" y="6858000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endParaRPr lang="en-ID"/>
          </a:p>
        </p:txBody>
      </p:sp>
      <p:sp>
        <p:nvSpPr>
          <p:cNvPr id="10" name="PpHolder7">
            <a:extLst>
              <a:ext uri="{FF2B5EF4-FFF2-40B4-BE49-F238E27FC236}">
                <a16:creationId xmlns:a16="http://schemas.microsoft.com/office/drawing/2014/main" id="{6BD3E40E-6024-4B5A-B8DD-CAF29B390CF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09210" y="3697320"/>
            <a:ext cx="1512025" cy="1442385"/>
          </a:xfrm>
          <a:custGeom>
            <a:avLst/>
            <a:gdLst>
              <a:gd name="connsiteX0" fmla="*/ 0 w 1512222"/>
              <a:gd name="connsiteY0" fmla="*/ 0 h 1442385"/>
              <a:gd name="connsiteX1" fmla="*/ 1512222 w 1512222"/>
              <a:gd name="connsiteY1" fmla="*/ 0 h 1442385"/>
              <a:gd name="connsiteX2" fmla="*/ 1512222 w 1512222"/>
              <a:gd name="connsiteY2" fmla="*/ 1442385 h 1442385"/>
              <a:gd name="connsiteX3" fmla="*/ 0 w 1512222"/>
              <a:gd name="connsiteY3" fmla="*/ 1442385 h 1442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2222" h="1442385">
                <a:moveTo>
                  <a:pt x="0" y="0"/>
                </a:moveTo>
                <a:lnTo>
                  <a:pt x="1512222" y="0"/>
                </a:lnTo>
                <a:lnTo>
                  <a:pt x="1512222" y="1442385"/>
                </a:lnTo>
                <a:lnTo>
                  <a:pt x="0" y="1442385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1">
            <a:noAutofit/>
          </a:bodyPr>
          <a:lstStyle>
            <a:lvl1pPr>
              <a:defRPr lang="en-ID" sz="600">
                <a:solidFill>
                  <a:schemeClr val="lt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endParaRPr lang="en-ID"/>
          </a:p>
        </p:txBody>
      </p:sp>
      <p:sp>
        <p:nvSpPr>
          <p:cNvPr id="8" name="PpHolder24">
            <a:extLst>
              <a:ext uri="{FF2B5EF4-FFF2-40B4-BE49-F238E27FC236}">
                <a16:creationId xmlns:a16="http://schemas.microsoft.com/office/drawing/2014/main" id="{5F5A454A-73D2-476A-8004-FBA5AF58071C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3864767" y="1672577"/>
            <a:ext cx="1512027" cy="1442385"/>
          </a:xfrm>
          <a:custGeom>
            <a:avLst/>
            <a:gdLst>
              <a:gd name="connsiteX0" fmla="*/ 0 w 1512224"/>
              <a:gd name="connsiteY0" fmla="*/ 0 h 1442385"/>
              <a:gd name="connsiteX1" fmla="*/ 1512224 w 1512224"/>
              <a:gd name="connsiteY1" fmla="*/ 0 h 1442385"/>
              <a:gd name="connsiteX2" fmla="*/ 1512224 w 1512224"/>
              <a:gd name="connsiteY2" fmla="*/ 1442385 h 1442385"/>
              <a:gd name="connsiteX3" fmla="*/ 0 w 1512224"/>
              <a:gd name="connsiteY3" fmla="*/ 1442385 h 1442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2224" h="1442385">
                <a:moveTo>
                  <a:pt x="0" y="0"/>
                </a:moveTo>
                <a:lnTo>
                  <a:pt x="1512224" y="0"/>
                </a:lnTo>
                <a:lnTo>
                  <a:pt x="1512224" y="1442385"/>
                </a:lnTo>
                <a:lnTo>
                  <a:pt x="0" y="1442385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1">
            <a:noAutofit/>
          </a:bodyPr>
          <a:lstStyle>
            <a:lvl1pPr>
              <a:defRPr lang="en-ID" sz="600">
                <a:solidFill>
                  <a:schemeClr val="lt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587502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Add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pHolder1">
            <a:extLst>
              <a:ext uri="{FF2B5EF4-FFF2-40B4-BE49-F238E27FC236}">
                <a16:creationId xmlns:a16="http://schemas.microsoft.com/office/drawing/2014/main" id="{74ED0BBF-0E8C-44D4-921F-066BA5C9B1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36982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49890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3243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8648BCE-354B-2149-A00E-19E3FFEB1C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244" y="1362840"/>
            <a:ext cx="5842303" cy="4602866"/>
          </a:xfrm>
        </p:spPr>
        <p:txBody>
          <a:bodyPr/>
          <a:lstStyle>
            <a:lvl1pPr>
              <a:buClr>
                <a:schemeClr val="accent3"/>
              </a:buClr>
              <a:buSzPct val="100000"/>
              <a:defRPr/>
            </a:lvl1pPr>
            <a:lvl2pPr>
              <a:buClr>
                <a:schemeClr val="accent3"/>
              </a:buClr>
              <a:defRPr/>
            </a:lvl2pPr>
            <a:lvl3pPr marL="999256" indent="-272799">
              <a:buClr>
                <a:schemeClr val="accent3"/>
              </a:buClr>
              <a:buFont typeface="Wingdings" pitchFamily="2" charset="2"/>
              <a:buChar char="§"/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8477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790485" y="589036"/>
            <a:ext cx="10401515" cy="6268965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353330" y="877834"/>
            <a:ext cx="8241507" cy="156289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5127" b="1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53330" y="5785200"/>
            <a:ext cx="6448450" cy="6687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658" b="0">
                <a:solidFill>
                  <a:schemeClr val="accent3"/>
                </a:solidFill>
                <a:latin typeface="+mn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10215964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329">
                <a:solidFill>
                  <a:schemeClr val="accent3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242356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329">
                <a:solidFill>
                  <a:schemeClr val="tx2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Add present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90485" cy="58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7758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0"/>
            <a:ext cx="4547125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11368227" y="6363471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100" y="538395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1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48601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44264D-6DD8-0D42-9FF3-0E0786D9BE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55468" y="1122363"/>
            <a:ext cx="7398963" cy="2387600"/>
          </a:xfrm>
        </p:spPr>
        <p:txBody>
          <a:bodyPr anchor="b"/>
          <a:lstStyle>
            <a:lvl1pPr algn="l">
              <a:defRPr sz="6000">
                <a:solidFill>
                  <a:srgbClr val="322D3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2C7199-7AD7-9149-8486-6DE2A72BBE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55467" y="3602038"/>
            <a:ext cx="7398963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D1322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152502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3243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8648BCE-354B-2149-A00E-19E3FFEB1C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244" y="1362840"/>
            <a:ext cx="5842303" cy="4602866"/>
          </a:xfrm>
        </p:spPr>
        <p:txBody>
          <a:bodyPr/>
          <a:lstStyle>
            <a:lvl1pPr>
              <a:buClr>
                <a:schemeClr val="accent3"/>
              </a:buClr>
              <a:buSzPct val="100000"/>
              <a:defRPr/>
            </a:lvl1pPr>
            <a:lvl2pPr>
              <a:buClr>
                <a:schemeClr val="accent3"/>
              </a:buClr>
              <a:defRPr/>
            </a:lvl2pPr>
            <a:lvl3pPr marL="999256" indent="-272799">
              <a:buClr>
                <a:schemeClr val="accent3"/>
              </a:buClr>
              <a:buFont typeface="Wingdings" pitchFamily="2" charset="2"/>
              <a:buChar char="§"/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466870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— 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11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698" indent="-285698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90308" y="6193620"/>
            <a:ext cx="2743200" cy="365125"/>
          </a:xfrm>
          <a:prstGeom prst="rect">
            <a:avLst/>
          </a:prstGeom>
        </p:spPr>
        <p:txBody>
          <a:bodyPr/>
          <a:lstStyle/>
          <a:p>
            <a:fld id="{017ED8CA-143E-8B40-B3C8-0174DDF149EE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1E1E1E">
                  <a:tint val="75000"/>
                </a:srgbClr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7" y="1446928"/>
            <a:ext cx="3741738" cy="969496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Verdana Bold" charset="0"/>
                <a:ea typeface="Verdana Bold" charset="0"/>
                <a:cs typeface="Verdana Bold" charset="0"/>
              </a:defRPr>
            </a:lvl1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66726" y="555811"/>
            <a:ext cx="3741737" cy="1054909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3000" b="0" i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Title of slide</a:t>
            </a:r>
            <a:br>
              <a:rPr lang="en-US"/>
            </a:br>
            <a:r>
              <a:rPr lang="en-US"/>
              <a:t>goes here.</a:t>
            </a:r>
          </a:p>
        </p:txBody>
      </p:sp>
    </p:spTree>
    <p:extLst>
      <p:ext uri="{BB962C8B-B14F-4D97-AF65-F5344CB8AC3E}">
        <p14:creationId xmlns:p14="http://schemas.microsoft.com/office/powerpoint/2010/main" val="3468731919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2" y="538395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8BE5AA-3211-42BB-85D1-8231E98B60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216" y="1085222"/>
            <a:ext cx="11215313" cy="5105066"/>
          </a:xfrm>
        </p:spPr>
        <p:txBody>
          <a:bodyPr/>
          <a:lstStyle>
            <a:lvl1pPr>
              <a:buClr>
                <a:schemeClr val="accent3"/>
              </a:buClr>
              <a:buSzPct val="100000"/>
              <a:defRPr>
                <a:latin typeface="+mj-lt"/>
              </a:defRPr>
            </a:lvl1pPr>
            <a:lvl2pPr marL="652546" indent="-224548">
              <a:buClr>
                <a:schemeClr val="accent3"/>
              </a:buClr>
              <a:buSzPct val="100000"/>
              <a:buFont typeface="Courier New" panose="02070309020205020404" pitchFamily="49" charset="0"/>
              <a:buChar char="o"/>
              <a:defRPr>
                <a:latin typeface="+mj-lt"/>
              </a:defRPr>
            </a:lvl2pPr>
            <a:lvl3pPr marL="999164" indent="-272774">
              <a:buClr>
                <a:schemeClr val="accent3"/>
              </a:buClr>
              <a:buSzPct val="100000"/>
              <a:buFont typeface="Lucida Sans Unicode" panose="020B0602030504020204" pitchFamily="34" charset="0"/>
              <a:buChar char="-"/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486587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3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30273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0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77289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600857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72975" y="605719"/>
            <a:ext cx="11479080" cy="4001791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09"/>
          </a:p>
        </p:txBody>
      </p:sp>
      <p:sp>
        <p:nvSpPr>
          <p:cNvPr id="3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02048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2117661" y="6252279"/>
            <a:ext cx="971787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7661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117661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117661" y="440320"/>
            <a:ext cx="971787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9663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0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9527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23144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356461" y="432879"/>
            <a:ext cx="670473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7447280" y="0"/>
            <a:ext cx="4744720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372974" y="6252279"/>
            <a:ext cx="678982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3243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001818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72974" y="432879"/>
            <a:ext cx="586203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8388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6CD744E-1C8A-4270-B899-07DB6370D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605036349"/>
              </p:ext>
            </p:extLst>
          </p:nvPr>
        </p:nvGraphicFramePr>
        <p:xfrm>
          <a:off x="1508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592" imgH="591" progId="TCLayout.ActiveDocument.1">
                  <p:embed/>
                </p:oleObj>
              </mc:Choice>
              <mc:Fallback>
                <p:oleObj name="think-cell Slide" r:id="rId3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6CD744E-1C8A-4270-B899-07DB6370D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08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56461" y="1213751"/>
            <a:ext cx="11302958" cy="440014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8"/>
    </p:custDataLst>
    <p:extLst>
      <p:ext uri="{BB962C8B-B14F-4D97-AF65-F5344CB8AC3E}">
        <p14:creationId xmlns:p14="http://schemas.microsoft.com/office/powerpoint/2010/main" val="1173192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txStyles>
    <p:titleStyle>
      <a:lvl1pPr algn="l" defTabSz="931678" rtl="0" eaLnBrk="1" latinLnBrk="0" hangingPunct="1">
        <a:spcBef>
          <a:spcPct val="0"/>
        </a:spcBef>
        <a:buNone/>
        <a:defRPr sz="34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727" marR="0" indent="-257727" algn="l" defTabSz="931433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709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45596" marR="0" indent="-113038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519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99256" marR="0" indent="-272799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519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80329" marR="0" indent="-199670" algn="l" defTabSz="93167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2096277" indent="-232920" algn="l" defTabSz="931678" rtl="0" eaLnBrk="1" latinLnBrk="0" hangingPunct="1">
        <a:spcBef>
          <a:spcPct val="20000"/>
        </a:spcBef>
        <a:buFont typeface="Arial" pitchFamily="34" charset="0"/>
        <a:buChar char="»"/>
        <a:defRPr sz="2279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6211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6pPr>
      <a:lvl7pPr marL="302795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7pPr>
      <a:lvl8pPr marL="3493795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8pPr>
      <a:lvl9pPr marL="3959634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1678" rtl="0" eaLnBrk="1" latinLnBrk="0" hangingPunct="1">
        <a:defRPr sz="1709" kern="1200">
          <a:solidFill>
            <a:schemeClr val="tx1"/>
          </a:solidFill>
          <a:latin typeface="+mn-lt"/>
          <a:ea typeface="+mn-ea"/>
          <a:cs typeface="+mn-cs"/>
        </a:defRPr>
      </a:lvl1pPr>
      <a:lvl2pPr marL="465839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2pPr>
      <a:lvl3pPr marL="93167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3pPr>
      <a:lvl4pPr marL="139751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4pPr>
      <a:lvl5pPr marL="1863357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5pPr>
      <a:lvl6pPr marL="2329196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6pPr>
      <a:lvl7pPr marL="279503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7pPr>
      <a:lvl8pPr marL="326087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8pPr>
      <a:lvl9pPr marL="3726714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app.smartsheet.com/b/form/52d92e5ded3a438db7e10fdf5da697b2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6359" y="1536701"/>
            <a:ext cx="4426815" cy="3190026"/>
          </a:xfrm>
        </p:spPr>
        <p:txBody>
          <a:bodyPr/>
          <a:lstStyle/>
          <a:p>
            <a:r>
              <a:rPr lang="en-US" sz="3418"/>
              <a:t>State Data Management System (SDMS)</a:t>
            </a:r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" r="76"/>
          <a:stretch>
            <a:fillRect/>
          </a:stretch>
        </p:blipFill>
        <p:spPr/>
      </p:pic>
      <p:sp>
        <p:nvSpPr>
          <p:cNvPr id="5" name="BainBulletsConfiguration" hidden="1"/>
          <p:cNvSpPr txBox="1"/>
          <p:nvPr/>
        </p:nvSpPr>
        <p:spPr>
          <a:xfrm>
            <a:off x="12058" y="12105"/>
            <a:ext cx="8440499" cy="83638"/>
          </a:xfrm>
          <a:prstGeom prst="rect">
            <a:avLst/>
          </a:prstGeom>
          <a:noFill/>
        </p:spPr>
        <p:txBody>
          <a:bodyPr vert="horz" wrap="square" lIns="34180" tIns="34180" rIns="34180" bIns="34180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B8F686-2832-DE45-B4EA-A9B076CCC0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6359" y="955349"/>
            <a:ext cx="1762376" cy="30385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7374" y="340144"/>
            <a:ext cx="5814605" cy="5825392"/>
          </a:xfrm>
          <a:prstGeom prst="rect">
            <a:avLst/>
          </a:prstGeom>
        </p:spPr>
      </p:pic>
      <p:sp>
        <p:nvSpPr>
          <p:cNvPr id="6" name="Subtitle 5">
            <a:extLst>
              <a:ext uri="{FF2B5EF4-FFF2-40B4-BE49-F238E27FC236}">
                <a16:creationId xmlns:a16="http://schemas.microsoft.com/office/drawing/2014/main" id="{7C7D006C-16F7-43F7-C101-E71E11E047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6360" y="5064161"/>
            <a:ext cx="4828269" cy="838490"/>
          </a:xfrm>
        </p:spPr>
        <p:txBody>
          <a:bodyPr/>
          <a:lstStyle/>
          <a:p>
            <a:r>
              <a:rPr lang="en-US" dirty="0"/>
              <a:t>Spring 2024</a:t>
            </a:r>
          </a:p>
          <a:p>
            <a:r>
              <a:rPr lang="en-US" dirty="0"/>
              <a:t>RIDE SAT and PSAT 10</a:t>
            </a:r>
          </a:p>
        </p:txBody>
      </p:sp>
    </p:spTree>
    <p:extLst>
      <p:ext uri="{BB962C8B-B14F-4D97-AF65-F5344CB8AC3E}">
        <p14:creationId xmlns:p14="http://schemas.microsoft.com/office/powerpoint/2010/main" val="1784689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ECB30-332B-4D04-9BF2-E561BB62A5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DMS – What Is It?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4B3047-D59C-5F79-039D-308CBDF97D08}"/>
              </a:ext>
            </a:extLst>
          </p:cNvPr>
          <p:cNvSpPr txBox="1"/>
          <p:nvPr/>
        </p:nvSpPr>
        <p:spPr>
          <a:xfrm>
            <a:off x="356461" y="1505201"/>
            <a:ext cx="4511629" cy="481246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1E1E1E"/>
                </a:solidFill>
              </a:rPr>
              <a:t>State Data Management System (SDMS) </a:t>
            </a:r>
            <a:r>
              <a:rPr lang="en-US" dirty="0">
                <a:solidFill>
                  <a:srgbClr val="1E1E1E"/>
                </a:solidFill>
              </a:rPr>
              <a:t>is a new tool created by College Board to manage student registrations for state-proved SAT &amp; PSAT 10 testing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In spring 2024, </a:t>
            </a:r>
            <a:r>
              <a:rPr lang="en-US" dirty="0">
                <a:solidFill>
                  <a:srgbClr val="1E1E1E"/>
                </a:solidFill>
              </a:rPr>
              <a:t>student registration data will flow from RIDE’s Student Information System to College Board’s State Data Management System (SDMS) to College Board’s Test Day Toolkit (TDTK). 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Unlike fall, College Board’s SAT Suite of Assessment </a:t>
            </a:r>
            <a:r>
              <a:rPr lang="en-US" dirty="0">
                <a:solidFill>
                  <a:srgbClr val="1E1E1E"/>
                </a:solidFill>
              </a:rPr>
              <a:t>Ordering and Registration (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SSOR) system will not</a:t>
            </a:r>
            <a:r>
              <a:rPr lang="en-US" dirty="0">
                <a:solidFill>
                  <a:srgbClr val="1E1E1E"/>
                </a:solidFill>
              </a:rPr>
              <a:t> be used for spring accountability testing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D0D35E-1591-2B79-3910-E7F091DF89B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71" t="1133" r="17084" b="1133"/>
          <a:stretch/>
        </p:blipFill>
        <p:spPr>
          <a:xfrm>
            <a:off x="5098774" y="1189992"/>
            <a:ext cx="6748669" cy="4478015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4B83D66-272A-B889-FA53-5081FA587165}"/>
              </a:ext>
            </a:extLst>
          </p:cNvPr>
          <p:cNvSpPr txBox="1"/>
          <p:nvPr/>
        </p:nvSpPr>
        <p:spPr>
          <a:xfrm>
            <a:off x="5353397" y="3076719"/>
            <a:ext cx="2479884" cy="169277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Rhode Island Department of Educ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83A0D5-4BAF-B958-D3B5-20D7E710AC9C}"/>
              </a:ext>
            </a:extLst>
          </p:cNvPr>
          <p:cNvSpPr txBox="1"/>
          <p:nvPr/>
        </p:nvSpPr>
        <p:spPr>
          <a:xfrm>
            <a:off x="5385732" y="5302000"/>
            <a:ext cx="2390863" cy="184666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Rhode Island Depart of Educ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90071C-D0B8-8AAC-37DA-FC2518FAD15C}"/>
              </a:ext>
            </a:extLst>
          </p:cNvPr>
          <p:cNvSpPr txBox="1"/>
          <p:nvPr/>
        </p:nvSpPr>
        <p:spPr>
          <a:xfrm>
            <a:off x="5327009" y="2374084"/>
            <a:ext cx="1535185" cy="169277"/>
          </a:xfrm>
          <a:prstGeom prst="rect">
            <a:avLst/>
          </a:prstGeom>
          <a:solidFill>
            <a:srgbClr val="D9F1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SAT</a:t>
            </a:r>
          </a:p>
        </p:txBody>
      </p:sp>
    </p:spTree>
    <p:extLst>
      <p:ext uri="{BB962C8B-B14F-4D97-AF65-F5344CB8AC3E}">
        <p14:creationId xmlns:p14="http://schemas.microsoft.com/office/powerpoint/2010/main" val="22875398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ECB30-332B-4D04-9BF2-E561BB62A5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DMS Email and Acc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4B3047-D59C-5F79-039D-308CBDF97D08}"/>
              </a:ext>
            </a:extLst>
          </p:cNvPr>
          <p:cNvSpPr txBox="1"/>
          <p:nvPr/>
        </p:nvSpPr>
        <p:spPr>
          <a:xfrm>
            <a:off x="356462" y="1537921"/>
            <a:ext cx="4180028" cy="45046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b="1" dirty="0"/>
              <a:t>Student data will be visible in SDMS beginning late in the week of February 5. </a:t>
            </a:r>
            <a:endParaRPr lang="en-US" dirty="0">
              <a:solidFill>
                <a:srgbClr val="1E1E1E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District and school users will receive the email on </a:t>
            </a:r>
            <a:r>
              <a:rPr lang="en-US" dirty="0">
                <a:solidFill>
                  <a:srgbClr val="1E1E1E"/>
                </a:solidFill>
              </a:rPr>
              <a:t>Tuesday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lang="en-US" dirty="0">
                <a:solidFill>
                  <a:srgbClr val="1E1E1E"/>
                </a:solidFill>
              </a:rPr>
              <a:t>February 6.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The invitation is unique to each user and is not forwardable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rgbClr val="1E1E1E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1E1E1E"/>
                </a:solidFill>
              </a:rPr>
              <a:t>Educators will log in using their College Board accoun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If a user has </a:t>
            </a:r>
            <a:r>
              <a:rPr lang="en-US" dirty="0">
                <a:solidFill>
                  <a:srgbClr val="1E1E1E"/>
                </a:solidFill>
              </a:rPr>
              <a:t>changed, please complete the </a:t>
            </a:r>
            <a:r>
              <a:rPr lang="en-US" dirty="0">
                <a:solidFill>
                  <a:schemeClr val="accent3"/>
                </a:solidFill>
                <a:hlinkClick r:id="rId2"/>
              </a:rPr>
              <a:t>Update Your Coordinator Form</a:t>
            </a:r>
            <a:r>
              <a:rPr lang="en-US" dirty="0">
                <a:solidFill>
                  <a:srgbClr val="1E1E1E"/>
                </a:solidFill>
              </a:rPr>
              <a:t>.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8B1C02-58D9-FCC8-5CD1-D16155EFC1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60" b="6660"/>
          <a:stretch/>
        </p:blipFill>
        <p:spPr>
          <a:xfrm>
            <a:off x="4850127" y="1638396"/>
            <a:ext cx="3122579" cy="4114800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339AE4-6D0D-54A7-AB2B-6E05183AD4F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" r="1902"/>
          <a:stretch/>
        </p:blipFill>
        <p:spPr>
          <a:xfrm>
            <a:off x="8623129" y="1638396"/>
            <a:ext cx="3136116" cy="4114800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F120E09B-4EB1-1766-477E-B675EFA9A959}"/>
              </a:ext>
            </a:extLst>
          </p:cNvPr>
          <p:cNvSpPr/>
          <p:nvPr/>
        </p:nvSpPr>
        <p:spPr>
          <a:xfrm>
            <a:off x="8086524" y="3267970"/>
            <a:ext cx="422787" cy="714166"/>
          </a:xfrm>
          <a:prstGeom prst="rightArrow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 fontScale="92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5140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92AFEC-839A-E378-E726-8ACC9077E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SDMS Functio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ED9B9A3-D3E0-2484-B65A-8EC88F469E22}"/>
              </a:ext>
            </a:extLst>
          </p:cNvPr>
          <p:cNvSpPr/>
          <p:nvPr/>
        </p:nvSpPr>
        <p:spPr>
          <a:xfrm>
            <a:off x="4590534" y="2148923"/>
            <a:ext cx="2400816" cy="1276350"/>
          </a:xfrm>
          <a:prstGeom prst="roundRect">
            <a:avLst/>
          </a:prstGeom>
          <a:solidFill>
            <a:schemeClr val="accent5"/>
          </a:solidFill>
          <a:ln w="476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+mj-lt"/>
              </a:rPr>
              <a:t>State Data Management System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18D70E6-6715-2C5D-5AB4-BD0C6441FCA5}"/>
              </a:ext>
            </a:extLst>
          </p:cNvPr>
          <p:cNvSpPr/>
          <p:nvPr/>
        </p:nvSpPr>
        <p:spPr>
          <a:xfrm>
            <a:off x="809470" y="1418796"/>
            <a:ext cx="2400816" cy="1276350"/>
          </a:xfrm>
          <a:prstGeom prst="round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  <a:latin typeface="+mj-lt"/>
              </a:rPr>
              <a:t>Student Data from RIDE SI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56CEF26-9D8B-CF86-E5D2-AEA1AC72018D}"/>
              </a:ext>
            </a:extLst>
          </p:cNvPr>
          <p:cNvSpPr/>
          <p:nvPr/>
        </p:nvSpPr>
        <p:spPr>
          <a:xfrm>
            <a:off x="809470" y="2912163"/>
            <a:ext cx="2400816" cy="1276350"/>
          </a:xfrm>
          <a:prstGeom prst="round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 fontScale="92500" lnSpcReduction="10000"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+mj-lt"/>
              </a:rPr>
              <a:t>Student Accommodations Data from SSD Online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8C76A151-AD6E-A0C3-2650-C14525929CB9}"/>
              </a:ext>
            </a:extLst>
          </p:cNvPr>
          <p:cNvSpPr/>
          <p:nvPr/>
        </p:nvSpPr>
        <p:spPr>
          <a:xfrm rot="1601750">
            <a:off x="3212599" y="1863567"/>
            <a:ext cx="1411534" cy="732892"/>
          </a:xfrm>
          <a:prstGeom prst="rightArrow">
            <a:avLst>
              <a:gd name="adj1" fmla="val 45770"/>
              <a:gd name="adj2" fmla="val 50000"/>
            </a:avLst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 fontScale="62500" lnSpcReduction="20000"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+mj-lt"/>
              </a:rPr>
              <a:t>Up to 48 hour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7382A6C-A0DC-79A4-D9CF-98E47C9D9CC2}"/>
              </a:ext>
            </a:extLst>
          </p:cNvPr>
          <p:cNvSpPr/>
          <p:nvPr/>
        </p:nvSpPr>
        <p:spPr>
          <a:xfrm>
            <a:off x="8648184" y="1367873"/>
            <a:ext cx="2400816" cy="1276350"/>
          </a:xfrm>
          <a:prstGeom prst="round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+mj-lt"/>
              </a:rPr>
              <a:t>Test Day Toolkit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24B39BA-C4EF-E349-16B0-D78A75744DAD}"/>
              </a:ext>
            </a:extLst>
          </p:cNvPr>
          <p:cNvSpPr/>
          <p:nvPr/>
        </p:nvSpPr>
        <p:spPr>
          <a:xfrm>
            <a:off x="8657709" y="2872823"/>
            <a:ext cx="2400816" cy="1276350"/>
          </a:xfrm>
          <a:prstGeom prst="round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+mj-lt"/>
              </a:rPr>
              <a:t>Bluebook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BBFE6C61-8361-080A-AFEC-2B1932B2249B}"/>
              </a:ext>
            </a:extLst>
          </p:cNvPr>
          <p:cNvSpPr/>
          <p:nvPr/>
        </p:nvSpPr>
        <p:spPr>
          <a:xfrm rot="20071710">
            <a:off x="3205369" y="3013902"/>
            <a:ext cx="1440734" cy="721113"/>
          </a:xfrm>
          <a:prstGeom prst="rightArrow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 fontScale="62500" lnSpcReduction="20000"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+mj-lt"/>
              </a:rPr>
              <a:t>Up to 48 hours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44B8BD12-6423-621F-7056-15428F5D387E}"/>
              </a:ext>
            </a:extLst>
          </p:cNvPr>
          <p:cNvSpPr/>
          <p:nvPr/>
        </p:nvSpPr>
        <p:spPr>
          <a:xfrm rot="20577989">
            <a:off x="7127756" y="2100605"/>
            <a:ext cx="1491089" cy="561975"/>
          </a:xfrm>
          <a:prstGeom prst="rightArrow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 fontScale="70000" lnSpcReduction="20000"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+mj-lt"/>
              </a:rPr>
              <a:t>Up to 48 hours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D3D52C52-1AA9-9273-8FB5-57157870D890}"/>
              </a:ext>
            </a:extLst>
          </p:cNvPr>
          <p:cNvSpPr/>
          <p:nvPr/>
        </p:nvSpPr>
        <p:spPr>
          <a:xfrm rot="1242899">
            <a:off x="7102248" y="2962599"/>
            <a:ext cx="1501540" cy="561975"/>
          </a:xfrm>
          <a:prstGeom prst="rightArrow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 fontScale="70000" lnSpcReduction="20000"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+mj-lt"/>
              </a:rPr>
              <a:t>Up to 48 hou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CD99505-3943-69E3-86EB-73BD4D6E3327}"/>
              </a:ext>
            </a:extLst>
          </p:cNvPr>
          <p:cNvSpPr txBox="1"/>
          <p:nvPr/>
        </p:nvSpPr>
        <p:spPr>
          <a:xfrm>
            <a:off x="1334132" y="4447842"/>
            <a:ext cx="10308482" cy="17346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Data from SDMS integrates with accommodations data from SSD Onlin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Approved accommodations will appear in the student’s record in SDM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Approved accommodations may be waived</a:t>
            </a:r>
            <a:r>
              <a:rPr lang="en-US" dirty="0">
                <a:solidFill>
                  <a:srgbClr val="1E1E1E"/>
                </a:solidFill>
              </a:rPr>
              <a:t>, entirely or in-part,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 in SDMS if a student chooses and their guardian consen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Student rosters from SDMS automatically populate Test Day Toolki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Student data in SDMS determines the generation of a student’s test in Bluebook</a:t>
            </a:r>
          </a:p>
        </p:txBody>
      </p:sp>
    </p:spTree>
    <p:extLst>
      <p:ext uri="{BB962C8B-B14F-4D97-AF65-F5344CB8AC3E}">
        <p14:creationId xmlns:p14="http://schemas.microsoft.com/office/powerpoint/2010/main" val="7871744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92AFEC-839A-E378-E726-8ACC9077E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SDMS Permissions and Communicati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1493270-8A92-BF7F-DDDE-22D0E9B317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282704"/>
              </p:ext>
            </p:extLst>
          </p:nvPr>
        </p:nvGraphicFramePr>
        <p:xfrm>
          <a:off x="506186" y="1184834"/>
          <a:ext cx="11152071" cy="4535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9123">
                  <a:extLst>
                    <a:ext uri="{9D8B030D-6E8A-4147-A177-3AD203B41FA5}">
                      <a16:colId xmlns:a16="http://schemas.microsoft.com/office/drawing/2014/main" val="2767889112"/>
                    </a:ext>
                  </a:extLst>
                </a:gridCol>
                <a:gridCol w="2231959">
                  <a:extLst>
                    <a:ext uri="{9D8B030D-6E8A-4147-A177-3AD203B41FA5}">
                      <a16:colId xmlns:a16="http://schemas.microsoft.com/office/drawing/2014/main" val="134936043"/>
                    </a:ext>
                  </a:extLst>
                </a:gridCol>
                <a:gridCol w="2273663">
                  <a:extLst>
                    <a:ext uri="{9D8B030D-6E8A-4147-A177-3AD203B41FA5}">
                      <a16:colId xmlns:a16="http://schemas.microsoft.com/office/drawing/2014/main" val="3991629237"/>
                    </a:ext>
                  </a:extLst>
                </a:gridCol>
                <a:gridCol w="2273663">
                  <a:extLst>
                    <a:ext uri="{9D8B030D-6E8A-4147-A177-3AD203B41FA5}">
                      <a16:colId xmlns:a16="http://schemas.microsoft.com/office/drawing/2014/main" val="2030730836"/>
                    </a:ext>
                  </a:extLst>
                </a:gridCol>
                <a:gridCol w="2273663">
                  <a:extLst>
                    <a:ext uri="{9D8B030D-6E8A-4147-A177-3AD203B41FA5}">
                      <a16:colId xmlns:a16="http://schemas.microsoft.com/office/drawing/2014/main" val="2822276717"/>
                    </a:ext>
                  </a:extLst>
                </a:gridCol>
              </a:tblGrid>
              <a:tr h="579867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</a:rPr>
                        <a:t>Ro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solidFill>
                            <a:schemeClr val="tx1"/>
                          </a:solidFill>
                        </a:rPr>
                        <a:t>District SDMS Coordin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solidFill>
                            <a:schemeClr val="tx1"/>
                          </a:solidFill>
                        </a:rPr>
                        <a:t>School Test Coordin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solidFill>
                            <a:schemeClr val="tx1"/>
                          </a:solidFill>
                        </a:rPr>
                        <a:t>Technology Coordinator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solidFill>
                            <a:schemeClr val="tx1"/>
                          </a:solidFill>
                        </a:rPr>
                        <a:t>SSD Coordin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7557023"/>
                  </a:ext>
                </a:extLst>
              </a:tr>
              <a:tr h="836969">
                <a:tc>
                  <a:txBody>
                    <a:bodyPr/>
                    <a:lstStyle/>
                    <a:p>
                      <a:r>
                        <a:rPr lang="en-US" sz="1300" b="1"/>
                        <a:t>View student registrations and associated accommoda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0462949"/>
                  </a:ext>
                </a:extLst>
              </a:tr>
              <a:tr h="974246">
                <a:tc>
                  <a:txBody>
                    <a:bodyPr/>
                    <a:lstStyle/>
                    <a:p>
                      <a:pPr marL="0" marR="0" lvl="0" indent="0" algn="l" defTabSz="93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/>
                        <a:t>Transfer a student from one school to another within a district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0093109"/>
                  </a:ext>
                </a:extLst>
              </a:tr>
              <a:tr h="548359">
                <a:tc>
                  <a:txBody>
                    <a:bodyPr/>
                    <a:lstStyle/>
                    <a:p>
                      <a:r>
                        <a:rPr lang="en-US" sz="1300" b="1"/>
                        <a:t>Edit student registra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4596365"/>
                  </a:ext>
                </a:extLst>
              </a:tr>
              <a:tr h="742801">
                <a:tc>
                  <a:txBody>
                    <a:bodyPr/>
                    <a:lstStyle/>
                    <a:p>
                      <a:r>
                        <a:rPr lang="en-US" sz="1300" b="1"/>
                        <a:t>Waive all or partial accommodations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384161"/>
                  </a:ext>
                </a:extLst>
              </a:tr>
              <a:tr h="742801">
                <a:tc>
                  <a:txBody>
                    <a:bodyPr/>
                    <a:lstStyle/>
                    <a:p>
                      <a:r>
                        <a:rPr lang="en-US" sz="1300" b="1"/>
                        <a:t>Force match accommoda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853448"/>
                  </a:ext>
                </a:extLst>
              </a:tr>
            </a:tbl>
          </a:graphicData>
        </a:graphic>
      </p:graphicFrame>
      <p:pic>
        <p:nvPicPr>
          <p:cNvPr id="6" name="Graphic 5" descr="Checkmark with solid fill">
            <a:extLst>
              <a:ext uri="{FF2B5EF4-FFF2-40B4-BE49-F238E27FC236}">
                <a16:creationId xmlns:a16="http://schemas.microsoft.com/office/drawing/2014/main" id="{57656197-5972-429F-3175-A7D0E07931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70522" y="1961232"/>
            <a:ext cx="877378" cy="7348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1E1137-8EC1-C9F4-11D4-D45368C6973F}"/>
              </a:ext>
            </a:extLst>
          </p:cNvPr>
          <p:cNvSpPr txBox="1"/>
          <p:nvPr/>
        </p:nvSpPr>
        <p:spPr>
          <a:xfrm>
            <a:off x="356461" y="5750631"/>
            <a:ext cx="11727368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1400" dirty="0"/>
              <a:t>Backup Test Coordinators will have access to SDMS. 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1400" dirty="0"/>
              <a:t>When waiving accommodations or force matching in SDMS, please allow at least four days for an updated test package to appear in Bluebook.  </a:t>
            </a:r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21F1C08B-8795-1454-6396-A6A7984055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60848" y="1961232"/>
            <a:ext cx="877378" cy="734878"/>
          </a:xfrm>
          <a:prstGeom prst="rect">
            <a:avLst/>
          </a:prstGeom>
        </p:spPr>
      </p:pic>
      <p:pic>
        <p:nvPicPr>
          <p:cNvPr id="23" name="Graphic 22" descr="Checkmark with solid fill">
            <a:extLst>
              <a:ext uri="{FF2B5EF4-FFF2-40B4-BE49-F238E27FC236}">
                <a16:creationId xmlns:a16="http://schemas.microsoft.com/office/drawing/2014/main" id="{1EC2769B-24B3-9829-AA57-E37F0C5C3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47965" y="1961232"/>
            <a:ext cx="877378" cy="734878"/>
          </a:xfrm>
          <a:prstGeom prst="rect">
            <a:avLst/>
          </a:prstGeom>
        </p:spPr>
      </p:pic>
      <p:pic>
        <p:nvPicPr>
          <p:cNvPr id="24" name="Graphic 23" descr="Checkmark with solid fill">
            <a:extLst>
              <a:ext uri="{FF2B5EF4-FFF2-40B4-BE49-F238E27FC236}">
                <a16:creationId xmlns:a16="http://schemas.microsoft.com/office/drawing/2014/main" id="{F2633ED1-81F4-8E4C-37ED-0B54D37443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19715" y="1956211"/>
            <a:ext cx="877378" cy="734878"/>
          </a:xfrm>
          <a:prstGeom prst="rect">
            <a:avLst/>
          </a:prstGeom>
        </p:spPr>
      </p:pic>
      <p:pic>
        <p:nvPicPr>
          <p:cNvPr id="25" name="Graphic 24" descr="Checkmark with solid fill">
            <a:extLst>
              <a:ext uri="{FF2B5EF4-FFF2-40B4-BE49-F238E27FC236}">
                <a16:creationId xmlns:a16="http://schemas.microsoft.com/office/drawing/2014/main" id="{639A69CD-80FB-A30F-292C-1785176773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00215" y="4240511"/>
            <a:ext cx="877378" cy="734878"/>
          </a:xfrm>
          <a:prstGeom prst="rect">
            <a:avLst/>
          </a:prstGeom>
        </p:spPr>
      </p:pic>
      <p:pic>
        <p:nvPicPr>
          <p:cNvPr id="26" name="Graphic 25" descr="Checkmark with solid fill">
            <a:extLst>
              <a:ext uri="{FF2B5EF4-FFF2-40B4-BE49-F238E27FC236}">
                <a16:creationId xmlns:a16="http://schemas.microsoft.com/office/drawing/2014/main" id="{2A6D1BB2-9EB7-34DF-E40A-DF590077FE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00215" y="4901634"/>
            <a:ext cx="877378" cy="734878"/>
          </a:xfrm>
          <a:prstGeom prst="rect">
            <a:avLst/>
          </a:prstGeom>
        </p:spPr>
      </p:pic>
      <p:pic>
        <p:nvPicPr>
          <p:cNvPr id="3" name="Graphic 2" descr="Checkmark with solid fill">
            <a:extLst>
              <a:ext uri="{FF2B5EF4-FFF2-40B4-BE49-F238E27FC236}">
                <a16:creationId xmlns:a16="http://schemas.microsoft.com/office/drawing/2014/main" id="{0B5B2D1F-B083-50D1-56C0-0322B23325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2922" y="4166756"/>
            <a:ext cx="877378" cy="734878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E8A9DDE8-9FD2-6467-A1EE-85298A5EE5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60848" y="4975389"/>
            <a:ext cx="877378" cy="734878"/>
          </a:xfrm>
          <a:prstGeom prst="rect">
            <a:avLst/>
          </a:prstGeom>
        </p:spPr>
      </p:pic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29DE931E-0948-6F77-ED79-F5CD3786DA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2922" y="5127789"/>
            <a:ext cx="877378" cy="734878"/>
          </a:xfrm>
          <a:prstGeom prst="rect">
            <a:avLst/>
          </a:prstGeom>
        </p:spPr>
      </p:pic>
      <p:pic>
        <p:nvPicPr>
          <p:cNvPr id="9" name="Graphic 8" descr="Checkmark with solid fill">
            <a:extLst>
              <a:ext uri="{FF2B5EF4-FFF2-40B4-BE49-F238E27FC236}">
                <a16:creationId xmlns:a16="http://schemas.microsoft.com/office/drawing/2014/main" id="{683CCB13-7B04-41F9-F042-9B7012014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60848" y="4202114"/>
            <a:ext cx="877378" cy="734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4415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ECB30-332B-4D04-9BF2-E561BB62A5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DMS Dashboar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4B3047-D59C-5F79-039D-308CBDF97D08}"/>
              </a:ext>
            </a:extLst>
          </p:cNvPr>
          <p:cNvSpPr txBox="1"/>
          <p:nvPr/>
        </p:nvSpPr>
        <p:spPr>
          <a:xfrm>
            <a:off x="356461" y="2007654"/>
            <a:ext cx="2605400" cy="33966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1E1E1E"/>
                </a:solidFill>
                <a:latin typeface="Roboto"/>
              </a:rPr>
              <a:t>The Dashboard allows users to: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Filter and search by multiple field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E1E1E"/>
                </a:solidFill>
                <a:latin typeface="Roboto"/>
              </a:rPr>
              <a:t>Download roster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E1E1E"/>
                </a:solidFill>
                <a:latin typeface="Roboto"/>
              </a:rPr>
              <a:t>Waive accommodation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Force match accommodations</a:t>
            </a:r>
          </a:p>
          <a:p>
            <a:pPr lvl="1"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A86C663-4386-E40F-342C-3DCB3E03A1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1070" y="1437977"/>
            <a:ext cx="8984042" cy="3674632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031278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utton&#10;&#10;Description automatically generated">
            <a:extLst>
              <a:ext uri="{FF2B5EF4-FFF2-40B4-BE49-F238E27FC236}">
                <a16:creationId xmlns:a16="http://schemas.microsoft.com/office/drawing/2014/main" id="{6B31A4EC-4353-71EC-2307-C1EA1CE560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924" y="1325580"/>
            <a:ext cx="11030902" cy="1383640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92AFEC-839A-E378-E726-8ACC9077E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Manage Students: Waiving Accommod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B2DB0A-76AC-E066-0F78-AA1D821C4B76}"/>
              </a:ext>
            </a:extLst>
          </p:cNvPr>
          <p:cNvSpPr txBox="1"/>
          <p:nvPr/>
        </p:nvSpPr>
        <p:spPr>
          <a:xfrm>
            <a:off x="452924" y="2924205"/>
            <a:ext cx="11030902" cy="351717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dirty="0">
                <a:solidFill>
                  <a:srgbClr val="1E1E1E"/>
                </a:solidFill>
                <a:latin typeface="Roboto"/>
              </a:rPr>
              <a:t>If a student is approved for accommodations in SSD Online but would like to waive some or all of them for their Spring 2024 test administration, </a:t>
            </a:r>
            <a:r>
              <a:rPr lang="en-US" b="1" dirty="0">
                <a:solidFill>
                  <a:srgbClr val="1E1E1E"/>
                </a:solidFill>
                <a:latin typeface="Roboto"/>
              </a:rPr>
              <a:t>SSD Coordinators, Test Coordinators, and District Coordinators </a:t>
            </a:r>
            <a:r>
              <a:rPr lang="en-US" dirty="0">
                <a:solidFill>
                  <a:srgbClr val="1E1E1E"/>
                </a:solidFill>
                <a:latin typeface="Roboto"/>
              </a:rPr>
              <a:t>are able to do this in SDM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1E1E1E"/>
                </a:solidFill>
                <a:latin typeface="Roboto"/>
              </a:rPr>
              <a:t>Navigate to the student’s profile in SDM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Use the toggle switch next to </a:t>
            </a:r>
            <a:r>
              <a:rPr lang="en-US" dirty="0">
                <a:solidFill>
                  <a:srgbClr val="1E1E1E"/>
                </a:solidFill>
                <a:latin typeface="Roboto"/>
              </a:rPr>
              <a:t>each of the student’s accommodations listed under their “student details” to waive any that the student does not want to us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We recommend that the school obtain the request to waive accommodations in writing from the student’s parent/guardian or the student (if 18 or older)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Accommodations must be waived at least four days prior to the student’s test to make sure the </a:t>
            </a:r>
            <a:r>
              <a:rPr lang="en-US" dirty="0">
                <a:solidFill>
                  <a:srgbClr val="1E1E1E"/>
                </a:solidFill>
                <a:latin typeface="Roboto"/>
              </a:rPr>
              <a:t>student’s test package is configured correctly for testing.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28954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9869A-AAE1-0345-C7E0-3B7A2E00E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400"/>
              <a:t>Manage Students – Force Matc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E3C9FE-12B3-D97C-B1DD-6A029FC68F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418" t="23489" r="23663" b="9443"/>
          <a:stretch/>
        </p:blipFill>
        <p:spPr>
          <a:xfrm>
            <a:off x="469109" y="1246801"/>
            <a:ext cx="6535698" cy="2727736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2665651-139C-9D2D-F608-0526C265172F}"/>
              </a:ext>
            </a:extLst>
          </p:cNvPr>
          <p:cNvSpPr txBox="1"/>
          <p:nvPr/>
        </p:nvSpPr>
        <p:spPr>
          <a:xfrm>
            <a:off x="356461" y="4048454"/>
            <a:ext cx="11381111" cy="256569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If a student’s SDMS registration data does not exactly match their demographic data in SSD Online, a match will not occur and that student’s approved accommodations will not appear in SDMS, Test Day Toolkit, or their exam in Bluebook.</a:t>
            </a:r>
            <a:endParaRPr lang="en-US" u="none">
              <a:solidFill>
                <a:srgbClr val="1E1E1E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If you are certain the student in SDMS is the same student associated with a particular SSD ID in SSD Online, you may “force match” these students by entering the SSD ID from SSD Online in the SSD ID field </a:t>
            </a:r>
            <a:r>
              <a:rPr lang="en-US">
                <a:solidFill>
                  <a:srgbClr val="1E1E1E"/>
                </a:solidFill>
              </a:rPr>
              <a:t>on the Student Details page.</a:t>
            </a:r>
            <a:r>
              <a:rPr kumimoji="0" lang="en-US" b="0" i="0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 This will generate the confirmation prompt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1E1E1E"/>
                </a:solidFill>
                <a:latin typeface="Roboto"/>
              </a:rPr>
              <a:t>Force matching should occur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at least four days prior to the student’s test to make sure the </a:t>
            </a:r>
            <a:r>
              <a:rPr lang="en-US">
                <a:solidFill>
                  <a:srgbClr val="1E1E1E"/>
                </a:solidFill>
                <a:latin typeface="Roboto"/>
              </a:rPr>
              <a:t>student’s test package is configured correctly for testing.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B5DEEE6-75AD-F979-5104-87A30C9BFA91}"/>
              </a:ext>
            </a:extLst>
          </p:cNvPr>
          <p:cNvSpPr/>
          <p:nvPr/>
        </p:nvSpPr>
        <p:spPr>
          <a:xfrm>
            <a:off x="780176" y="3380763"/>
            <a:ext cx="2164360" cy="53689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/>
          <a:p>
            <a:pPr algn="ctr"/>
            <a:endParaRPr lang="en-US" sz="2000" b="1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5757F9-A711-E6E5-771F-A53BE580F7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4998" y="1721317"/>
            <a:ext cx="5871249" cy="176645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6528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2125"/>
    </mc:Choice>
    <mc:Fallback xmlns="">
      <p:transition spd="slow" advTm="162125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heme/theme1.xml><?xml version="1.0" encoding="utf-8"?>
<a:theme xmlns:a="http://schemas.openxmlformats.org/drawingml/2006/main" name="CB-Corporate">
  <a:themeElements>
    <a:clrScheme name="CB-Corporate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6298"/>
      </a:accent3>
      <a:accent4>
        <a:srgbClr val="009CDE"/>
      </a:accent4>
      <a:accent5>
        <a:srgbClr val="505050"/>
      </a:accent5>
      <a:accent6>
        <a:srgbClr val="888888"/>
      </a:accent6>
      <a:hlink>
        <a:srgbClr val="1E1E1E"/>
      </a:hlink>
      <a:folHlink>
        <a:srgbClr val="006298"/>
      </a:folHlink>
    </a:clrScheme>
    <a:fontScheme name="CB-Corporate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Higher Ed.potx" id="{E960ABFF-9876-44C0-B28F-0BED3C35A50C}" vid="{DE46081D-1663-4C69-9137-8AED11EE29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8731a27-bd3e-4ae8-a1fa-7e26e9630f5f">
      <Terms xmlns="http://schemas.microsoft.com/office/infopath/2007/PartnerControls"/>
    </lcf76f155ced4ddcb4097134ff3c332f>
    <TaxCatchAll xmlns="46bef635-9968-4b66-a147-b4b917a458e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5BE7BB7BFBA14EBF3FC4A45B08A448" ma:contentTypeVersion="17" ma:contentTypeDescription="Create a new document." ma:contentTypeScope="" ma:versionID="7d346e42f10b51fda4bcb3c0e20c4a32">
  <xsd:schema xmlns:xsd="http://www.w3.org/2001/XMLSchema" xmlns:xs="http://www.w3.org/2001/XMLSchema" xmlns:p="http://schemas.microsoft.com/office/2006/metadata/properties" xmlns:ns2="48731a27-bd3e-4ae8-a1fa-7e26e9630f5f" xmlns:ns3="46bef635-9968-4b66-a147-b4b917a458e1" targetNamespace="http://schemas.microsoft.com/office/2006/metadata/properties" ma:root="true" ma:fieldsID="59f2fafe25713a61559102988b1c663a" ns2:_="" ns3:_="">
    <xsd:import namespace="48731a27-bd3e-4ae8-a1fa-7e26e9630f5f"/>
    <xsd:import namespace="46bef635-9968-4b66-a147-b4b917a458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731a27-bd3e-4ae8-a1fa-7e26e9630f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e5650d7-bd54-4c78-86b3-0ad055013b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bef635-9968-4b66-a147-b4b917a458e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934c83-5e94-4c05-8259-0223629b937e}" ma:internalName="TaxCatchAll" ma:showField="CatchAllData" ma:web="46bef635-9968-4b66-a147-b4b917a458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E4BBDE8-6359-43BC-AF0D-BE14FB0C3C3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09E547-FEAD-4496-95A0-DA08E3BF475A}">
  <ds:schemaRefs>
    <ds:schemaRef ds:uri="46bef635-9968-4b66-a147-b4b917a458e1"/>
    <ds:schemaRef ds:uri="48731a27-bd3e-4ae8-a1fa-7e26e9630f5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6E2C61D-290D-4460-90E5-BA23B9E92937}">
  <ds:schemaRefs>
    <ds:schemaRef ds:uri="46bef635-9968-4b66-a147-b4b917a458e1"/>
    <ds:schemaRef ds:uri="48731a27-bd3e-4ae8-a1fa-7e26e9630f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7530bded-fd6e-4f58-b5d2-ea681eb07663}" enabled="0" method="" siteId="{7530bded-fd6e-4f58-b5d2-ea681eb0766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7</TotalTime>
  <Words>659</Words>
  <Application>Microsoft Office PowerPoint</Application>
  <PresentationFormat>Widescreen</PresentationFormat>
  <Paragraphs>70</Paragraphs>
  <Slides>8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CB-Corporate</vt:lpstr>
      <vt:lpstr>State Data Management System (SDMS)</vt:lpstr>
      <vt:lpstr>SDMS – What Is It? </vt:lpstr>
      <vt:lpstr>SDMS Email and Access</vt:lpstr>
      <vt:lpstr>SDMS Function</vt:lpstr>
      <vt:lpstr>SDMS Permissions and Communication</vt:lpstr>
      <vt:lpstr>SDMS Dashboard</vt:lpstr>
      <vt:lpstr>Manage Students: Waiving Accommodations</vt:lpstr>
      <vt:lpstr>Manage Students – Force Matc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e Data Management System (SDMS) /  Student Registration</dc:title>
  <dc:creator>Wilson, James (He/Him/His)</dc:creator>
  <cp:lastModifiedBy>Wolf Belda, Jenn (She/Her/Hers)</cp:lastModifiedBy>
  <cp:revision>3</cp:revision>
  <dcterms:created xsi:type="dcterms:W3CDTF">2024-01-22T23:19:55Z</dcterms:created>
  <dcterms:modified xsi:type="dcterms:W3CDTF">2024-02-08T15:5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5BE7BB7BFBA14EBF3FC4A45B08A448</vt:lpwstr>
  </property>
</Properties>
</file>